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at" ContentType="text/plai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d7cdf343cea14030" Type="http://schemas.microsoft.com/office/2006/relationships/txt" Target="udata/data.dat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00" r:id="rId3"/>
    <p:sldMasterId id="2147483715" r:id="rId4"/>
    <p:sldMasterId id="2147483730" r:id="rId5"/>
  </p:sldMasterIdLst>
  <p:notesMasterIdLst>
    <p:notesMasterId r:id="rId14"/>
  </p:notesMasterIdLst>
  <p:sldIdLst>
    <p:sldId id="368" r:id="rId6"/>
    <p:sldId id="375" r:id="rId7"/>
    <p:sldId id="389" r:id="rId8"/>
    <p:sldId id="390" r:id="rId9"/>
    <p:sldId id="387" r:id="rId10"/>
    <p:sldId id="391" r:id="rId11"/>
    <p:sldId id="392" r:id="rId12"/>
    <p:sldId id="370" r:id="rId13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" initials="p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BBF8A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88" autoAdjust="0"/>
    <p:restoredTop sz="84982" autoAdjust="0"/>
  </p:normalViewPr>
  <p:slideViewPr>
    <p:cSldViewPr>
      <p:cViewPr varScale="1">
        <p:scale>
          <a:sx n="72" d="100"/>
          <a:sy n="72" d="100"/>
        </p:scale>
        <p:origin x="-132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8/8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云创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55B677-7151-43F0-8D82-56A7B92E0C74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358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云创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55B677-7151-43F0-8D82-56A7B92E0C7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358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云创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55B677-7151-43F0-8D82-56A7B92E0C7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8358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云创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55B677-7151-43F0-8D82-56A7B92E0C7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12515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云创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55B677-7151-43F0-8D82-56A7B92E0C74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1251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云创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55B677-7151-43F0-8D82-56A7B92E0C7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1251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305100-8245-4122-BD80-9063238D80B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73739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6941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69887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1ED673-02EE-40E5-9E0D-3B84A098EF8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10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41596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891880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9846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80C95-1B03-43B7-9D4D-F4CB7DC8C46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8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7622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4140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6652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74915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3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内容版式一（自编辑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8/8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5378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29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标题，内容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5800" y="152400"/>
            <a:ext cx="6870700" cy="16002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85800" y="1828800"/>
            <a:ext cx="3771900" cy="36576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610100" y="1828800"/>
            <a:ext cx="3771900" cy="36576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6359F0-9566-48D8-9926-6EAAD7D465D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271209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E41144-C876-4CC3-B5FD-E4C25505AD0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44469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accent2">
                    <a:lumMod val="50000"/>
                  </a:schemeClr>
                </a:solidFill>
                <a:effectLst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50000"/>
              </a:lnSpc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50000"/>
              </a:lnSpc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50000"/>
              </a:lnSpc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50000"/>
              </a:lnSpc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50000"/>
              </a:lnSpc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F93317-9946-4D8F-A8FF-C785ADF451D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47996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accent2">
                    <a:lumMod val="50000"/>
                  </a:schemeClr>
                </a:solidFill>
                <a:effectLst/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308F71-AD74-4DC5-ABF9-A4907A7432F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005235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91D925-C32A-4594-A887-855B5BEA8B3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338500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99C34-175A-4BB6-A6E9-9CA06300E36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1443205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82C626-2534-45F5-86E9-4865335220C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37773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70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A2CE3F-6A7E-42DB-980F-D317EADEB57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98136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9D96B6-93E4-42A4-8F61-314ABE94EDD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49586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28C5D-3A29-4266-8369-0F6182AC20A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0797041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7ADE6A-082D-408C-9A5F-DD8110B4B2D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154846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zh-CN" altLang="en-US" sz="3600" b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4E5A72-57D1-4D0D-9221-FDB58B89D37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15526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736AD-119B-4B85-9E72-4CFFBB05AEF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75404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标题和内容在文本之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lang="zh-CN" altLang="en-US" sz="3600" b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650E2F-C9C6-4391-BDC4-4E50946ED92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574132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88999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305100-8245-4122-BD80-9063238D80B8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37915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61211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136229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1ED673-02EE-40E5-9E0D-3B84A098EF88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10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8224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DC685-8167-4D45-A465-365648E1B5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829086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DC685-8167-4D45-A465-365648E1B5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8260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FB80C95-1B03-43B7-9D4D-F4CB7DC8C46D}" type="slidenum">
              <a:rPr lang="en-US" altLang="zh-CN" smtClean="0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8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97412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30628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611491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562868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71BABE5C-CA59-4FDD-B4E2-F27D50DA0EFD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85ABE061-4FAE-4FE8-9156-9562390931F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6588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D1BE15E8-D1E5-4923-8F12-C608F0586B25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54A868BF-6F2B-4791-88D6-621CF8EADD5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3747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4B125BCB-459F-46BA-B39E-9BF67A88D3F4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4603E7B-950A-480E-992F-E443A74F5F4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2874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A3BAFBE-A23C-4CE3-A54C-B756CEB34CA7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33C204C-367E-4351-BC80-217AA27B29D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50858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1E9F9704-D9B4-4DCD-9982-D96D7BE9B60C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1F273379-CA04-4CE0-9805-86AD165FE92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2419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7FC55463-B03E-4555-A7F4-0D726EDC425A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51915F25-6337-4B3A-A2E4-589DA3DE62A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41243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E822521-5D4C-4957-8643-2A01CD447303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3DC7C1ED-1794-4F39-9F03-09F15E55A7B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9468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AEC2DCE1-4CC5-4978-967E-D9CB97BA1D2D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81BA97D-FB35-4A11-85BD-A795079BE42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08043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E439356F-42B9-4172-908F-A0817F7120DF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BBA172F3-EAFF-45DB-B174-C16C4FCCF40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48826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1E0B7175-3129-4BD8-8583-31E3A7EA6387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33F5510A-53BD-407E-B1E2-5B20F92CD04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54911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6DFF235C-4D00-4C14-9ADC-9296738E081C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8F2F6B4B-2965-4F6D-AC56-C44DB5E135B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657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50"/>
            <a:ext cx="412936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7" y="24833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99" y="-27384"/>
            <a:ext cx="9167813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021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50"/>
            <a:ext cx="412936" cy="501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68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4" descr="应用部分3-05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宋体" charset="-122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14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微软雅黑" pitchFamily="34" charset="-122"/>
          <a:ea typeface="微软雅黑" pitchFamily="34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微软雅黑" pitchFamily="34" charset="-122"/>
          <a:ea typeface="微软雅黑" pitchFamily="34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微软雅黑" pitchFamily="34" charset="-122"/>
          <a:ea typeface="微软雅黑" pitchFamily="34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微软雅黑" pitchFamily="34" charset="-122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微软雅黑" pitchFamily="34" charset="-122"/>
          <a:ea typeface="微软雅黑" pitchFamily="34" charset="-122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微软雅黑" pitchFamily="34" charset="-122"/>
          <a:ea typeface="微软雅黑" pitchFamily="34" charset="-122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微软雅黑" pitchFamily="34" charset="-122"/>
          <a:ea typeface="微软雅黑" pitchFamily="34" charset="-122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微软雅黑" pitchFamily="34" charset="-122"/>
          <a:ea typeface="微软雅黑" pitchFamily="34" charset="-122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7EC443A-CDA7-4EB9-B7AB-D9E7E47CD30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632523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微软雅黑" pitchFamily="34" charset="-122"/>
          <a:ea typeface="微软雅黑" pitchFamily="34" charset="-122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32523"/>
          </a:solidFill>
          <a:latin typeface="微软雅黑" pitchFamily="34" charset="-122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32523"/>
          </a:solidFill>
          <a:latin typeface="微软雅黑" pitchFamily="34" charset="-122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32523"/>
          </a:solidFill>
          <a:latin typeface="微软雅黑" pitchFamily="34" charset="-122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632523"/>
          </a:solidFill>
          <a:latin typeface="微软雅黑" pitchFamily="34" charset="-122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b="1" kern="1200">
          <a:solidFill>
            <a:srgbClr val="CC0000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BA1625-9052-4D14-8737-AE4CF4C56154}" type="datetimeFigureOut">
              <a:rPr lang="zh-CN" altLang="en-US" smtClean="0"/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792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1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宋体"/>
              </a:defRPr>
            </a:lvl1pPr>
          </a:lstStyle>
          <a:p>
            <a:pPr>
              <a:defRPr/>
            </a:pPr>
            <a:fld id="{4DBD5372-4C79-472A-8F91-5BE21C1DC45C}" type="datetimeFigureOut">
              <a:rPr lang="zh-CN" altLang="en-US"/>
              <a:pPr>
                <a:defRPr/>
              </a:pPr>
              <a:t>2018/8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宋体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宋体"/>
              </a:defRPr>
            </a:lvl1pPr>
          </a:lstStyle>
          <a:p>
            <a:pPr>
              <a:defRPr/>
            </a:pPr>
            <a:fld id="{80951418-A59B-4D2A-A420-D9977684335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737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9" descr="应用部分3-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5"/>
          <p:cNvSpPr txBox="1">
            <a:spLocks noChangeArrowheads="1"/>
          </p:cNvSpPr>
          <p:nvPr/>
        </p:nvSpPr>
        <p:spPr bwMode="auto">
          <a:xfrm>
            <a:off x="642938" y="714375"/>
            <a:ext cx="8102600" cy="1841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 eaLnBrk="1" hangingPunct="1">
              <a:lnSpc>
                <a:spcPct val="83000"/>
              </a:lnSpc>
              <a:spcBef>
                <a:spcPct val="50000"/>
              </a:spcBef>
              <a:buFontTx/>
              <a:buNone/>
            </a:pPr>
            <a:endParaRPr lang="en-US" altLang="zh-CN" sz="6000" b="1" dirty="0" smtClean="0">
              <a:solidFill>
                <a:schemeClr val="bg1"/>
              </a:solidFill>
            </a:endParaRPr>
          </a:p>
          <a:p>
            <a:pPr algn="ctr" eaLnBrk="1" hangingPunct="1">
              <a:lnSpc>
                <a:spcPct val="83000"/>
              </a:lnSpc>
              <a:spcBef>
                <a:spcPct val="50000"/>
              </a:spcBef>
              <a:buFontTx/>
              <a:buNone/>
            </a:pPr>
            <a:r>
              <a:rPr lang="zh-CN" altLang="en-US" sz="4800" dirty="0" smtClean="0">
                <a:solidFill>
                  <a:schemeClr val="bg1"/>
                </a:solidFill>
              </a:rPr>
              <a:t>统一任务调度系统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  <p:sp>
        <p:nvSpPr>
          <p:cNvPr id="2054" name="Text Box 8"/>
          <p:cNvSpPr txBox="1">
            <a:spLocks noChangeArrowheads="1"/>
          </p:cNvSpPr>
          <p:nvPr/>
        </p:nvSpPr>
        <p:spPr bwMode="auto">
          <a:xfrm>
            <a:off x="612775" y="5949950"/>
            <a:ext cx="25193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zh-CN" sz="1200">
                <a:solidFill>
                  <a:schemeClr val="bg2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www.jd.com</a:t>
            </a:r>
          </a:p>
        </p:txBody>
      </p:sp>
    </p:spTree>
    <p:extLst>
      <p:ext uri="{BB962C8B-B14F-4D97-AF65-F5344CB8AC3E}">
        <p14:creationId xmlns:p14="http://schemas.microsoft.com/office/powerpoint/2010/main" val="69289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4997" y="116632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CA1524"/>
                </a:solidFill>
                <a:latin typeface="微软雅黑" pitchFamily="34" charset="-122"/>
                <a:ea typeface="微软雅黑" pitchFamily="34" charset="-122"/>
              </a:rPr>
              <a:t>统一任务调度系统</a:t>
            </a:r>
          </a:p>
        </p:txBody>
      </p:sp>
      <p:pic>
        <p:nvPicPr>
          <p:cNvPr id="5" name="Picture 4" descr="C:\Users\Administrator\Documents\我接收到的文件\未标题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00123"/>
            <a:ext cx="146161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/>
        </p:nvCxnSpPr>
        <p:spPr>
          <a:xfrm>
            <a:off x="179512" y="508476"/>
            <a:ext cx="8784976" cy="0"/>
          </a:xfrm>
          <a:prstGeom prst="line">
            <a:avLst/>
          </a:prstGeom>
          <a:ln w="28575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179512" y="6453336"/>
            <a:ext cx="8784976" cy="0"/>
          </a:xfrm>
          <a:prstGeom prst="line">
            <a:avLst/>
          </a:prstGeom>
          <a:ln w="19050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内容占位符 8"/>
          <p:cNvSpPr>
            <a:spLocks noGrp="1"/>
          </p:cNvSpPr>
          <p:nvPr>
            <p:ph idx="1"/>
          </p:nvPr>
        </p:nvSpPr>
        <p:spPr>
          <a:xfrm>
            <a:off x="457200" y="1164634"/>
            <a:ext cx="8229600" cy="4525963"/>
          </a:xfrm>
        </p:spPr>
        <p:txBody>
          <a:bodyPr>
            <a:normAutofit/>
          </a:bodyPr>
          <a:lstStyle/>
          <a:p>
            <a:pPr marL="457200" indent="-457200" eaLnBrk="0" hangingPunct="0">
              <a:buFont typeface="Wingdings" panose="05000000000000000000" pitchFamily="2" charset="2"/>
              <a:buChar char="l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团队介绍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eaLnBrk="0" hangingPunct="0">
              <a:buFont typeface="Wingdings" panose="05000000000000000000" pitchFamily="2" charset="2"/>
              <a:buChar char="l"/>
            </a:pP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团队名称：算钱计算机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成员 </a:t>
            </a: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孙朋伟，王瑞，张宁，李桐葳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们来自计费研发部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1977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4997" y="116632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CA1524"/>
                </a:solidFill>
                <a:latin typeface="微软雅黑" pitchFamily="34" charset="-122"/>
                <a:ea typeface="微软雅黑" pitchFamily="34" charset="-122"/>
              </a:rPr>
              <a:t>统一任务调度系统</a:t>
            </a:r>
          </a:p>
        </p:txBody>
      </p:sp>
      <p:pic>
        <p:nvPicPr>
          <p:cNvPr id="5" name="Picture 4" descr="C:\Users\Administrator\Documents\我接收到的文件\未标题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00123"/>
            <a:ext cx="146161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/>
        </p:nvCxnSpPr>
        <p:spPr>
          <a:xfrm>
            <a:off x="179512" y="508476"/>
            <a:ext cx="8784976" cy="0"/>
          </a:xfrm>
          <a:prstGeom prst="line">
            <a:avLst/>
          </a:prstGeom>
          <a:ln w="28575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179512" y="6453336"/>
            <a:ext cx="8784976" cy="0"/>
          </a:xfrm>
          <a:prstGeom prst="line">
            <a:avLst/>
          </a:prstGeom>
          <a:ln w="19050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内容占位符 8"/>
          <p:cNvSpPr>
            <a:spLocks noGrp="1"/>
          </p:cNvSpPr>
          <p:nvPr>
            <p:ph idx="1"/>
          </p:nvPr>
        </p:nvSpPr>
        <p:spPr>
          <a:xfrm>
            <a:off x="457200" y="1164634"/>
            <a:ext cx="8229600" cy="4525963"/>
          </a:xfrm>
        </p:spPr>
        <p:txBody>
          <a:bodyPr>
            <a:normAutofit/>
          </a:bodyPr>
          <a:lstStyle/>
          <a:p>
            <a:pPr marL="457200" indent="-457200" eaLnBrk="0" hangingPunct="0">
              <a:buFont typeface="Wingdings" panose="05000000000000000000" pitchFamily="2" charset="2"/>
              <a:buChar char="l"/>
            </a:pP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eaLnBrk="0" hangingPunct="0">
              <a:buFont typeface="Wingdings" panose="05000000000000000000" pitchFamily="2" charset="2"/>
              <a:buChar char="l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们做的产品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统一任务调度系统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eaLnBrk="0" hangingPunct="0">
              <a:buFont typeface="Wingdings" panose="05000000000000000000" pitchFamily="2" charset="2"/>
              <a:buChar char="l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为什么要做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了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操作友好性，符合计费业务特点，批量操作，不需要人工干预，支持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tt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议，可自主化控制任务，性能全方位监控，提升自我能力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812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4997" y="116632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 smtClean="0">
                <a:solidFill>
                  <a:srgbClr val="CA1524"/>
                </a:solidFill>
                <a:latin typeface="微软雅黑" pitchFamily="34" charset="-122"/>
                <a:ea typeface="微软雅黑" pitchFamily="34" charset="-122"/>
              </a:rPr>
              <a:t>统一任务调度系统</a:t>
            </a:r>
          </a:p>
        </p:txBody>
      </p:sp>
      <p:pic>
        <p:nvPicPr>
          <p:cNvPr id="5" name="Picture 4" descr="C:\Users\Administrator\Documents\我接收到的文件\未标题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00123"/>
            <a:ext cx="146161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/>
        </p:nvCxnSpPr>
        <p:spPr>
          <a:xfrm>
            <a:off x="179512" y="508476"/>
            <a:ext cx="8784976" cy="0"/>
          </a:xfrm>
          <a:prstGeom prst="line">
            <a:avLst/>
          </a:prstGeom>
          <a:ln w="28575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179512" y="6453336"/>
            <a:ext cx="8784976" cy="0"/>
          </a:xfrm>
          <a:prstGeom prst="line">
            <a:avLst/>
          </a:prstGeom>
          <a:ln w="19050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内容占位符 8"/>
          <p:cNvSpPr>
            <a:spLocks noGrp="1"/>
          </p:cNvSpPr>
          <p:nvPr>
            <p:ph idx="1"/>
          </p:nvPr>
        </p:nvSpPr>
        <p:spPr>
          <a:xfrm>
            <a:off x="457200" y="1164634"/>
            <a:ext cx="8229600" cy="4525963"/>
          </a:xfrm>
        </p:spPr>
        <p:txBody>
          <a:bodyPr>
            <a:normAutofit lnSpcReduction="10000"/>
          </a:bodyPr>
          <a:lstStyle/>
          <a:p>
            <a:pPr marL="457200" indent="-457200" eaLnBrk="0" hangingPunct="0">
              <a:buFont typeface="Wingdings" panose="05000000000000000000" pitchFamily="2" charset="2"/>
              <a:buChar char="l"/>
            </a:pP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eaLnBrk="0" hangingPunct="0">
              <a:buFont typeface="Wingdings" panose="05000000000000000000" pitchFamily="2" charset="2"/>
              <a:buChar char="l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前支持的功能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任务的增删改查（方便对任务的统一管理）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2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任务的分组</a:t>
            </a:r>
            <a:r>
              <a:rPr lang="en-US" altLang="zh-CN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区</a:t>
            </a:r>
            <a:r>
              <a:rPr lang="en-US" altLang="zh-CN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并发调用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3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采用</a:t>
            </a:r>
            <a:r>
              <a:rPr lang="en-US" altLang="zh-CN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tp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协议通过</a:t>
            </a:r>
            <a:r>
              <a:rPr lang="en-US" altLang="zh-CN" sz="17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url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用任务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4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任务类型的划分（定时任务，手动任务）等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5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机器</a:t>
            </a:r>
            <a:r>
              <a:rPr lang="en-US" altLang="zh-CN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wn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掉后的任务自动转移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6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新增机器后的任务自动分配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7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任务执行时日志的持久化和查看（可动态配置）</a:t>
            </a:r>
            <a:b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8</a:t>
            </a:r>
            <a:r>
              <a:rPr lang="zh-CN" altLang="en-US" sz="17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任务和系统负载的</a:t>
            </a:r>
            <a:r>
              <a:rPr lang="zh-CN" altLang="en-US" sz="17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监控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eaLnBrk="0" hangingPunct="0">
              <a:buFont typeface="Wingdings" panose="05000000000000000000" pitchFamily="2" charset="2"/>
              <a:buChar char="l"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价值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0" hangingPunct="0">
              <a:buNone/>
            </a:pP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用场景广泛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ttp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议更加通用），节省研发人员成本，硬件成本（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o</a:t>
            </a:r>
            <a:r>
              <a:rPr lang="zh-CN" altLang="en-US" sz="160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性能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更高），提高开发效率，使用简单等。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6603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4997" y="116632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rgbClr val="CA1524"/>
                </a:solidFill>
                <a:latin typeface="微软雅黑" pitchFamily="34" charset="-122"/>
                <a:ea typeface="微软雅黑" pitchFamily="34" charset="-122"/>
              </a:rPr>
              <a:t>统一任务调度系统</a:t>
            </a:r>
          </a:p>
        </p:txBody>
      </p:sp>
      <p:pic>
        <p:nvPicPr>
          <p:cNvPr id="5" name="Picture 4" descr="C:\Users\Administrator\Documents\我接收到的文件\未标题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00123"/>
            <a:ext cx="146161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/>
        </p:nvCxnSpPr>
        <p:spPr>
          <a:xfrm>
            <a:off x="179512" y="508476"/>
            <a:ext cx="8784976" cy="0"/>
          </a:xfrm>
          <a:prstGeom prst="line">
            <a:avLst/>
          </a:prstGeom>
          <a:ln w="28575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179512" y="6453336"/>
            <a:ext cx="8784976" cy="0"/>
          </a:xfrm>
          <a:prstGeom prst="line">
            <a:avLst/>
          </a:prstGeom>
          <a:ln w="19050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764704"/>
            <a:ext cx="8229600" cy="5361459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分层和架构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88" y="1581150"/>
            <a:ext cx="7134225" cy="369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158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4997" y="116632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rgbClr val="CA1524"/>
                </a:solidFill>
                <a:latin typeface="微软雅黑" pitchFamily="34" charset="-122"/>
                <a:ea typeface="微软雅黑" pitchFamily="34" charset="-122"/>
              </a:rPr>
              <a:t>统一任务调度系统</a:t>
            </a:r>
          </a:p>
        </p:txBody>
      </p:sp>
      <p:pic>
        <p:nvPicPr>
          <p:cNvPr id="5" name="Picture 4" descr="C:\Users\Administrator\Documents\我接收到的文件\未标题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00123"/>
            <a:ext cx="146161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/>
        </p:nvCxnSpPr>
        <p:spPr>
          <a:xfrm>
            <a:off x="179512" y="508476"/>
            <a:ext cx="8784976" cy="0"/>
          </a:xfrm>
          <a:prstGeom prst="line">
            <a:avLst/>
          </a:prstGeom>
          <a:ln w="28575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179512" y="6453336"/>
            <a:ext cx="8784976" cy="0"/>
          </a:xfrm>
          <a:prstGeom prst="line">
            <a:avLst/>
          </a:prstGeom>
          <a:ln w="19050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764704"/>
            <a:ext cx="8229600" cy="5361459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分层和架构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0" y="1340768"/>
            <a:ext cx="6477000" cy="4340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613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4997" y="116632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rgbClr val="CA1524"/>
                </a:solidFill>
                <a:latin typeface="微软雅黑" pitchFamily="34" charset="-122"/>
                <a:ea typeface="微软雅黑" pitchFamily="34" charset="-122"/>
              </a:rPr>
              <a:t>统一任务调度系统</a:t>
            </a:r>
          </a:p>
        </p:txBody>
      </p:sp>
      <p:pic>
        <p:nvPicPr>
          <p:cNvPr id="5" name="Picture 4" descr="C:\Users\Administrator\Documents\我接收到的文件\未标题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00123"/>
            <a:ext cx="146161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/>
        </p:nvCxnSpPr>
        <p:spPr>
          <a:xfrm>
            <a:off x="179512" y="508476"/>
            <a:ext cx="8784976" cy="0"/>
          </a:xfrm>
          <a:prstGeom prst="line">
            <a:avLst/>
          </a:prstGeom>
          <a:ln w="28575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179512" y="6453336"/>
            <a:ext cx="8784976" cy="0"/>
          </a:xfrm>
          <a:prstGeom prst="line">
            <a:avLst/>
          </a:prstGeom>
          <a:ln w="19050">
            <a:solidFill>
              <a:srgbClr val="CA1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457200" y="764704"/>
            <a:ext cx="8229600" cy="5361459"/>
          </a:xfrm>
        </p:spPr>
        <p:txBody>
          <a:bodyPr>
            <a:normAutofit/>
          </a:bodyPr>
          <a:lstStyle/>
          <a:p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未来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lvl="1" indent="0">
              <a:buNone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	1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任务监控更加精细化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lvl="1" indent="0">
              <a:buNone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协议更加多样化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lvl="1" indent="0">
              <a:buNone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任务类型更加丰富</a:t>
            </a:r>
            <a:endParaRPr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lvl="1" indent="0">
              <a:buNone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支持应用程序上传平台执行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lvl="1" indent="0">
              <a:buNone/>
            </a:pP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	.</a:t>
            </a:r>
          </a:p>
          <a:p>
            <a:pPr marL="457200" lvl="1" indent="0">
              <a:buNone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</a:p>
          <a:p>
            <a:pPr marL="457200" lvl="1" indent="0">
              <a:buNone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  <a:r>
              <a:rPr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</a:p>
          <a:p>
            <a:pPr marL="457200" lvl="1" indent="0">
              <a:buNone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5335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9" descr="应用部分3-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5"/>
          <p:cNvSpPr txBox="1">
            <a:spLocks noChangeArrowheads="1"/>
          </p:cNvSpPr>
          <p:nvPr/>
        </p:nvSpPr>
        <p:spPr bwMode="auto">
          <a:xfrm>
            <a:off x="521493" y="1326564"/>
            <a:ext cx="8102600" cy="212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algn="ctr" eaLnBrk="1" hangingPunct="1">
              <a:lnSpc>
                <a:spcPct val="83000"/>
              </a:lnSpc>
              <a:spcBef>
                <a:spcPct val="50000"/>
              </a:spcBef>
              <a:buFontTx/>
              <a:buNone/>
            </a:pPr>
            <a:r>
              <a:rPr lang="en-US" altLang="zh-CN" sz="6000" b="1" dirty="0" smtClean="0">
                <a:solidFill>
                  <a:schemeClr val="bg1"/>
                </a:solidFill>
              </a:rPr>
              <a:t>THANKS</a:t>
            </a:r>
          </a:p>
          <a:p>
            <a:pPr algn="ctr" eaLnBrk="1" hangingPunct="1">
              <a:lnSpc>
                <a:spcPct val="83000"/>
              </a:lnSpc>
              <a:spcBef>
                <a:spcPct val="50000"/>
              </a:spcBef>
              <a:buFontTx/>
              <a:buNone/>
            </a:pPr>
            <a:r>
              <a:rPr lang="en-US" altLang="zh-CN" sz="4800" b="1" dirty="0" smtClean="0">
                <a:solidFill>
                  <a:schemeClr val="bg1"/>
                </a:solidFill>
              </a:rPr>
              <a:t>END</a:t>
            </a:r>
            <a:endParaRPr lang="en-US" altLang="zh-CN" sz="4800" b="1" dirty="0">
              <a:solidFill>
                <a:schemeClr val="bg1"/>
              </a:solidFill>
            </a:endParaRPr>
          </a:p>
          <a:p>
            <a:pPr algn="r" eaLnBrk="1" hangingPunct="1">
              <a:lnSpc>
                <a:spcPct val="83000"/>
              </a:lnSpc>
              <a:spcBef>
                <a:spcPct val="50000"/>
              </a:spcBef>
              <a:buFontTx/>
              <a:buNone/>
            </a:pPr>
            <a:endParaRPr lang="en-US" altLang="zh-CN" sz="1400" dirty="0" smtClean="0">
              <a:solidFill>
                <a:schemeClr val="bg1"/>
              </a:solidFill>
            </a:endParaRPr>
          </a:p>
        </p:txBody>
      </p:sp>
      <p:sp>
        <p:nvSpPr>
          <p:cNvPr id="2054" name="Text Box 8"/>
          <p:cNvSpPr txBox="1">
            <a:spLocks noChangeArrowheads="1"/>
          </p:cNvSpPr>
          <p:nvPr/>
        </p:nvSpPr>
        <p:spPr bwMode="auto">
          <a:xfrm>
            <a:off x="612775" y="5949950"/>
            <a:ext cx="25193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zh-CN" sz="1200">
                <a:solidFill>
                  <a:schemeClr val="bg2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www.jd.com</a:t>
            </a:r>
          </a:p>
        </p:txBody>
      </p:sp>
    </p:spTree>
    <p:extLst>
      <p:ext uri="{BB962C8B-B14F-4D97-AF65-F5344CB8AC3E}">
        <p14:creationId xmlns:p14="http://schemas.microsoft.com/office/powerpoint/2010/main" val="107558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/>
      </a:spPr>
      <a:bodyPr rot="0" spcFirstLastPara="1" vertOverflow="overflow" horzOverflow="overflow" vert="horz" wrap="square" lIns="91440" tIns="45720" rIns="91440" bIns="45720" numCol="1" spcCol="0" rtlCol="0" fromWordArt="1" anchor="ctr" anchorCtr="0" forceAA="0" compatLnSpc="1">
        <a:prstTxWarp prst="textNoShape">
          <a:avLst/>
        </a:prstTxWarp>
        <a:noAutofit/>
      </a:bodyPr>
      <a:lstStyle>
        <a:defPPr algn="ctr">
          <a:defRPr sz="1800" b="0" kern="10" dirty="0" smtClean="0">
            <a:ln w="9525">
              <a:solidFill>
                <a:srgbClr val="000000"/>
              </a:solidFill>
              <a:round/>
              <a:headEnd/>
              <a:tailEnd/>
            </a:ln>
            <a:solidFill>
              <a:srgbClr val="000000"/>
            </a:solidFill>
            <a:latin typeface="微软雅黑" pitchFamily="34" charset="-122"/>
            <a:ea typeface="微软雅黑" pitchFamily="34" charset="-122"/>
            <a:cs typeface="Arial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京东PPT模板">
  <a:themeElements>
    <a:clrScheme name="气流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默认设计模板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00.京东商城PPT模板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>
              <a:lumMod val="95000"/>
              <a:lumOff val="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新员工入职培训管理规范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5690</TotalTime>
  <Words>70</Words>
  <Application>Microsoft Office PowerPoint</Application>
  <PresentationFormat>全屏显示(4:3)</PresentationFormat>
  <Paragraphs>58</Paragraphs>
  <Slides>8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5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4" baseType="lpstr">
      <vt:lpstr>JD Template V2.0</vt:lpstr>
      <vt:lpstr>京东PPT模板</vt:lpstr>
      <vt:lpstr>00.京东商城PPT模板</vt:lpstr>
      <vt:lpstr>新员工入职培训管理规范</vt:lpstr>
      <vt:lpstr>1_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提高开发质量的实践</dc:title>
  <dc:subject>开发平台研发部技术分享</dc:subject>
  <dc:creator>hanwenyang5</dc:creator>
  <cp:keywords>开发质量</cp:keywords>
  <cp:lastModifiedBy>p</cp:lastModifiedBy>
  <cp:revision>618</cp:revision>
  <dcterms:created xsi:type="dcterms:W3CDTF">2013-11-13T04:04:11Z</dcterms:created>
  <dcterms:modified xsi:type="dcterms:W3CDTF">2018-08-13T06:53:28Z</dcterms:modified>
</cp:coreProperties>
</file>